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660" r:id="rId4"/>
    <p:sldMasterId id="2147483681" r:id="rId5"/>
    <p:sldMasterId id="2147483676" r:id="rId6"/>
  </p:sldMasterIdLst>
  <p:notesMasterIdLst>
    <p:notesMasterId r:id="rId11"/>
  </p:notesMasterIdLst>
  <p:sldIdLst>
    <p:sldId id="270" r:id="rId7"/>
    <p:sldId id="284" r:id="rId8"/>
    <p:sldId id="285" r:id="rId9"/>
    <p:sldId id="286" r:id="rId10"/>
  </p:sldIdLst>
  <p:sldSz cx="12192000" cy="6858000"/>
  <p:notesSz cx="6858000" cy="9144000"/>
  <p:embeddedFontLst>
    <p:embeddedFont>
      <p:font typeface="Calibri" panose="020F0502020204030204" pitchFamily="34" charset="0"/>
      <p:regular r:id="rId12"/>
      <p:bold r:id="rId13"/>
      <p:italic r:id="rId14"/>
      <p:boldItalic r:id="rId15"/>
    </p:embeddedFont>
    <p:embeddedFont>
      <p:font typeface="Calibri Light" panose="020F0302020204030204" pitchFamily="34" charset="0"/>
      <p:regular r:id="rId16"/>
      <p:italic r:id="rId17"/>
    </p:embeddedFont>
  </p:embeddedFontLst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81C4"/>
    <a:srgbClr val="29B8CE"/>
    <a:srgbClr val="69C0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448"/>
    <p:restoredTop sz="94709"/>
  </p:normalViewPr>
  <p:slideViewPr>
    <p:cSldViewPr snapToGrid="0">
      <p:cViewPr varScale="1">
        <p:scale>
          <a:sx n="142" d="100"/>
          <a:sy n="142" d="100"/>
        </p:scale>
        <p:origin x="192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font" Target="fonts/font2.fntdata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" Type="http://schemas.openxmlformats.org/officeDocument/2006/relationships/customXml" Target="../customXml/item2.xml"/><Relationship Id="rId16" Type="http://schemas.openxmlformats.org/officeDocument/2006/relationships/font" Target="fonts/font5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font" Target="fonts/font4.fntdata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font" Target="fonts/font3.fntdata"/><Relationship Id="rId22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4C7CCA-92A9-7A4E-B4D2-F1F266AD1B54}" type="datetimeFigureOut">
              <a:rPr lang="de-DE" smtClean="0"/>
              <a:t>20.06.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C2AE26-B8A1-0342-8924-830E82EA402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44606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18pt_Bild rec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9B8C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D2E592D-6FF0-7148-A162-616C819393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63479" y="1877789"/>
            <a:ext cx="6228522" cy="4097338"/>
          </a:xfrm>
          <a:prstGeom prst="rect">
            <a:avLst/>
          </a:prstGeom>
          <a:solidFill>
            <a:srgbClr val="69C0AC">
              <a:alpha val="10000"/>
            </a:srgb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9B8CE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204" y="1877789"/>
            <a:ext cx="5175466" cy="4097338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9B8CE"/>
              </a:buClr>
              <a:buSzTx/>
              <a:buFont typeface="Courier New" panose="02070309020205020404" pitchFamily="49" charset="0"/>
              <a:buChar char="o"/>
              <a:tabLst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62326BB4-C77C-2742-B87F-A2B7682A33B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A95CC16D-F4EE-4942-B50E-114DCB8A01E8}" type="datetime1">
              <a:rPr lang="de-DE" smtClean="0"/>
              <a:t>20.06.22</a:t>
            </a:fld>
            <a:endParaRPr lang="en-DE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0549237-BF1E-754C-848A-FAE117E779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BCA30C8-C0ED-2944-A83D-2BED99E7F4E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031308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ohne Nummerieru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98A05A16-AFC5-C14A-BE63-DF13D0A9FB7C}"/>
              </a:ext>
            </a:extLst>
          </p:cNvPr>
          <p:cNvSpPr txBox="1"/>
          <p:nvPr userDrawn="1"/>
        </p:nvSpPr>
        <p:spPr>
          <a:xfrm>
            <a:off x="806346" y="2718645"/>
            <a:ext cx="30659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mpusOS</a:t>
            </a:r>
            <a:r>
              <a:rPr lang="de-DE" sz="2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//</a:t>
            </a:r>
            <a:endParaRPr lang="de-DE" sz="200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C495684-86E7-D944-B8D1-13382523B8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1797" y="3069659"/>
            <a:ext cx="7535862" cy="10906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[Partner]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32F5DA8-6166-1A42-A02D-078963B239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9690" y="4558464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Speaker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3EE217F0-1ED7-5F42-A470-D5A54B3B1F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9316" y="2755982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34BFD219-B9EE-E74C-B4FF-08DFCD8737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9690" y="5082996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86CA7FB-2263-F045-BD03-8CDE4A93A8BD}" type="datetime1">
              <a:rPr lang="de-DE" smtClean="0"/>
              <a:t>15.02.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949165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_ohne Nummerieru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98A05A16-AFC5-C14A-BE63-DF13D0A9FB7C}"/>
              </a:ext>
            </a:extLst>
          </p:cNvPr>
          <p:cNvSpPr txBox="1"/>
          <p:nvPr userDrawn="1"/>
        </p:nvSpPr>
        <p:spPr>
          <a:xfrm>
            <a:off x="806346" y="2718645"/>
            <a:ext cx="30659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mpusOS</a:t>
            </a:r>
            <a:r>
              <a:rPr lang="de-DE" sz="2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//</a:t>
            </a:r>
            <a:endParaRPr lang="de-DE" sz="200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C495684-86E7-D944-B8D1-13382523B8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1797" y="3069659"/>
            <a:ext cx="7535862" cy="10906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[Partner]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32F5DA8-6166-1A42-A02D-078963B239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9690" y="4558464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Speaker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AC01DC65-D54D-7A41-B793-046DD455DA2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054531" y="6178770"/>
            <a:ext cx="974725" cy="4556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000"/>
            </a:lvl1pPr>
          </a:lstStyle>
          <a:p>
            <a:r>
              <a:rPr lang="de-DE"/>
              <a:t>Partnerlogo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3EE217F0-1ED7-5F42-A470-D5A54B3B1F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9316" y="2755982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34BFD219-B9EE-E74C-B4FF-08DFCD8737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9690" y="5082996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1AAD978-CB16-E447-A7C7-1B86570337C6}" type="datetime1">
              <a:rPr lang="de-DE" smtClean="0"/>
              <a:t>15.02.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26709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_ohne Nummerieru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98A05A16-AFC5-C14A-BE63-DF13D0A9FB7C}"/>
              </a:ext>
            </a:extLst>
          </p:cNvPr>
          <p:cNvSpPr txBox="1"/>
          <p:nvPr userDrawn="1"/>
        </p:nvSpPr>
        <p:spPr>
          <a:xfrm>
            <a:off x="806346" y="2718645"/>
            <a:ext cx="30659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mpusOS</a:t>
            </a:r>
            <a:r>
              <a:rPr lang="de-DE" sz="2000" b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//</a:t>
            </a:r>
            <a:endParaRPr lang="de-DE" sz="200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EC495684-86E7-D944-B8D1-13382523B88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81797" y="3069659"/>
            <a:ext cx="7535862" cy="109061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6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[Partner]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132F5DA8-6166-1A42-A02D-078963B239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9690" y="4558464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/>
              <a:t>Speaker</a:t>
            </a:r>
          </a:p>
        </p:txBody>
      </p:sp>
      <p:sp>
        <p:nvSpPr>
          <p:cNvPr id="12" name="Textplatzhalter 10">
            <a:extLst>
              <a:ext uri="{FF2B5EF4-FFF2-40B4-BE49-F238E27FC236}">
                <a16:creationId xmlns:a16="http://schemas.microsoft.com/office/drawing/2014/main" id="{3EE217F0-1ED7-5F42-A470-D5A54B3B1F3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39316" y="2755982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endParaRPr lang="de-DE"/>
          </a:p>
        </p:txBody>
      </p:sp>
      <p:sp>
        <p:nvSpPr>
          <p:cNvPr id="13" name="Textplatzhalter 10">
            <a:extLst>
              <a:ext uri="{FF2B5EF4-FFF2-40B4-BE49-F238E27FC236}">
                <a16:creationId xmlns:a16="http://schemas.microsoft.com/office/drawing/2014/main" id="{34BFD219-B9EE-E74C-B4FF-08DFCD87374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59690" y="5082996"/>
            <a:ext cx="3559175" cy="325437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A1AAD978-CB16-E447-A7C7-1B86570337C6}" type="datetime1">
              <a:rPr lang="de-DE" smtClean="0"/>
              <a:t>15.02.22</a:t>
            </a:fld>
            <a:endParaRPr lang="de-DE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A120228-BA67-EE43-AA85-F0310FD475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176188" y="5940845"/>
            <a:ext cx="885387" cy="913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8453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4CBA72-66EB-6944-B3CC-7DF8B7CC85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lang="en-DE" sz="6600" b="1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255CDC9-070E-144E-A3D5-85F25BF857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lang="en-DE" sz="2000" b="1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1A3DB40-8D37-2B48-95AC-330E449CE3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3796CB-226E-E94D-A89E-FFFDCBAD0D5D}" type="datetime1">
              <a:rPr lang="de-DE" smtClean="0"/>
              <a:t>20.06.22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05CD7FA-07DA-D245-8760-AB0CEDA112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7860FF1-FB65-A04E-B01E-FB1AF0286C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0753189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5173ED-D0DA-0245-BD46-48A2C2683E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DE" sz="6600" b="1" i="0" kern="120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D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937564-6B61-8E49-BEA5-56442BF209D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2000" b="1" kern="1200" dirty="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5E9E793-DE5B-AC40-8B91-5303868918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78E453-F5AE-4F46-A8E3-955844BF4FEC}" type="datetime1">
              <a:rPr lang="de-DE" smtClean="0"/>
              <a:t>20.06.22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411107A-89F4-0141-ACD5-03BB1BF94F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2AD8F18-55CF-A24B-ABC0-1412AB4A7A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5798716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905C7F-2CEF-ED4B-966D-49BF0D9B0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D15FFA-572E-2440-B579-D5EB7EFEEA8A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001689-3A33-9C4E-BF74-0CC0CFC542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7D75CD7-EE5E-4245-8DD2-557FCAA19D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9925909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vorstellung_Variant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8F1B9A0-37A7-1244-A0BD-C0D2E405B1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1141" y="499645"/>
            <a:ext cx="2977555" cy="14747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60"/>
              </a:lnSpc>
              <a:buFontTx/>
              <a:buNone/>
              <a:defRPr sz="4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endParaRPr lang="de-DE"/>
          </a:p>
          <a:p>
            <a:pPr lvl="0"/>
            <a:r>
              <a:rPr lang="de-DE" err="1"/>
              <a:t>Ipsum</a:t>
            </a:r>
            <a:r>
              <a:rPr lang="de-DE"/>
              <a:t>?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07FB6EC-54B8-1041-9311-BD6DAAC46E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1141" y="2119095"/>
            <a:ext cx="2977555" cy="412893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360"/>
              </a:lnSpc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27B77CBC-1FE5-6F4C-B619-8F1850B48F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2604" y="499644"/>
            <a:ext cx="3054350" cy="14747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60"/>
              </a:lnSpc>
              <a:buFontTx/>
              <a:buNone/>
              <a:defRPr sz="4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endParaRPr lang="de-DE"/>
          </a:p>
          <a:p>
            <a:pPr lvl="0"/>
            <a:r>
              <a:rPr lang="de-DE" err="1"/>
              <a:t>Ipsum</a:t>
            </a:r>
            <a:r>
              <a:rPr lang="de-DE"/>
              <a:t>?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FA849B1B-942B-284D-9C63-9E907F61D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3113" y="2239963"/>
            <a:ext cx="3054350" cy="365760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29B8CE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858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11430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6002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20574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338F4B1-FA55-D64E-9269-849738B092F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B5AE269-196E-744A-B367-E8985378ADC8}" type="datetime1">
              <a:rPr lang="de-DE" smtClean="0"/>
              <a:t>20.06.22</a:t>
            </a:fld>
            <a:endParaRPr lang="en-D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6FE7577-DC94-0742-AE8E-57BD634FC86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0C82BED-2D5F-A340-A527-95AC15ED8BC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9887766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rojektvorstellung_Variant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8F1B9A0-37A7-1244-A0BD-C0D2E405B1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1141" y="499645"/>
            <a:ext cx="2977555" cy="14747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60"/>
              </a:lnSpc>
              <a:buFontTx/>
              <a:buNone/>
              <a:defRPr sz="4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endParaRPr lang="de-DE"/>
          </a:p>
          <a:p>
            <a:pPr lvl="0"/>
            <a:r>
              <a:rPr lang="de-DE" err="1"/>
              <a:t>Ipsum</a:t>
            </a:r>
            <a:r>
              <a:rPr lang="de-DE"/>
              <a:t>?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07FB6EC-54B8-1041-9311-BD6DAAC46E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1141" y="2119095"/>
            <a:ext cx="2977555" cy="412893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360"/>
              </a:lnSpc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27B77CBC-1FE5-6F4C-B619-8F1850B48F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2604" y="499644"/>
            <a:ext cx="3054350" cy="14747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60"/>
              </a:lnSpc>
              <a:buFontTx/>
              <a:buNone/>
              <a:defRPr sz="48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endParaRPr lang="de-DE"/>
          </a:p>
          <a:p>
            <a:pPr lvl="0"/>
            <a:r>
              <a:rPr lang="de-DE" err="1"/>
              <a:t>Ipsum</a:t>
            </a:r>
            <a:r>
              <a:rPr lang="de-DE"/>
              <a:t>?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FA849B1B-942B-284D-9C63-9E907F61D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93113" y="2239963"/>
            <a:ext cx="3054350" cy="3657600"/>
          </a:xfrm>
          <a:prstGeom prst="rect">
            <a:avLst/>
          </a:prstGeom>
        </p:spPr>
        <p:txBody>
          <a:bodyPr/>
          <a:lstStyle>
            <a:lvl1pPr marL="228600" indent="-228600">
              <a:buClr>
                <a:srgbClr val="29B8CE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858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11430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6002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20574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ABA22C0-79FD-384D-BC5D-A95198A0DA79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68287" y="499644"/>
            <a:ext cx="3222045" cy="174031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DE"/>
              <a:t>Logo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DB9C3179-FAFB-3340-9355-AF67412106F7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61AEF186-E73E-6442-8B8D-1152DFC673DD}" type="datetime1">
              <a:rPr lang="de-DE" smtClean="0"/>
              <a:t>20.06.22</a:t>
            </a:fld>
            <a:endParaRPr lang="en-DE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8768DE1-1F16-1541-BCFA-E489644EF0D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A2D391F-C742-2240-889C-EE86EFDC84C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543075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ktvorstellung_Variant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68F1B9A0-37A7-1244-A0BD-C0D2E405B10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11141" y="499645"/>
            <a:ext cx="2977555" cy="14747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60"/>
              </a:lnSpc>
              <a:buFontTx/>
              <a:buNone/>
              <a:defRPr sz="48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endParaRPr lang="de-DE"/>
          </a:p>
          <a:p>
            <a:pPr lvl="0"/>
            <a:r>
              <a:rPr lang="de-DE" err="1"/>
              <a:t>Ipsum</a:t>
            </a:r>
            <a:r>
              <a:rPr lang="de-DE"/>
              <a:t>?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07FB6EC-54B8-1041-9311-BD6DAAC46E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92604" y="2431007"/>
            <a:ext cx="2977555" cy="36576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360"/>
              </a:lnSpc>
              <a:buFontTx/>
              <a:buNone/>
              <a:defRPr sz="1800" b="0" i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</a:p>
        </p:txBody>
      </p:sp>
      <p:sp>
        <p:nvSpPr>
          <p:cNvPr id="16" name="Textplatzhalter 11">
            <a:extLst>
              <a:ext uri="{FF2B5EF4-FFF2-40B4-BE49-F238E27FC236}">
                <a16:creationId xmlns:a16="http://schemas.microsoft.com/office/drawing/2014/main" id="{27B77CBC-1FE5-6F4C-B619-8F1850B48F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92604" y="499644"/>
            <a:ext cx="3054350" cy="147478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4860"/>
              </a:lnSpc>
              <a:buFontTx/>
              <a:buNone/>
              <a:defRPr sz="4800" b="1" i="0">
                <a:solidFill>
                  <a:srgbClr val="29B8C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endParaRPr lang="de-DE"/>
          </a:p>
          <a:p>
            <a:pPr lvl="0"/>
            <a:r>
              <a:rPr lang="de-DE" err="1"/>
              <a:t>Ipsum</a:t>
            </a:r>
            <a:r>
              <a:rPr lang="de-DE"/>
              <a:t>?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FA849B1B-942B-284D-9C63-9E907F61D12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1141" y="2431007"/>
            <a:ext cx="3054350" cy="3657600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ts val="2600"/>
              </a:lnSpc>
              <a:buClr>
                <a:schemeClr val="bg1"/>
              </a:buClr>
              <a:buFont typeface="Courier New" panose="02070309020205020404" pitchFamily="49" charset="0"/>
              <a:buChar char="o"/>
              <a:defRPr sz="20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6858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11430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 marL="16002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 marL="2057400" indent="-228600">
              <a:buClr>
                <a:srgbClr val="2581C4"/>
              </a:buClr>
              <a:buFont typeface="Courier New" panose="02070309020205020404" pitchFamily="49" charset="0"/>
              <a:buChar char="o"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6DFA500-CC42-E742-B963-F663D467E80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01B7DB8-9D1C-DB45-989B-70686B2100DE}" type="datetime1">
              <a:rPr lang="de-DE" smtClean="0"/>
              <a:t>20.06.22</a:t>
            </a:fld>
            <a:endParaRPr lang="en-DE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1FFD84-4283-C541-9D05-7419D5C28CE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A211D27-18C9-644D-8D62-F47DE4D052A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3428384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18pt_lang_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205" y="1880128"/>
            <a:ext cx="7083778" cy="393084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26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26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29E0491-414A-C147-8B8A-4AF26742FA4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739063" y="1879600"/>
            <a:ext cx="4452937" cy="393065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F17696-6006-BC4B-A685-687C94156A7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DE5A34A1-05FB-9246-86CF-0C30C8553AAC}" type="datetime1">
              <a:rPr lang="de-DE" smtClean="0"/>
              <a:t>20.06.22</a:t>
            </a:fld>
            <a:endParaRPr lang="en-DE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93EB7D2-5E97-5F4D-A286-F087F508D85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E498819-65A0-D44D-88FB-01201035F90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6988354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24pt_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D2E592D-6FF0-7148-A162-616C819393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00800" y="1741714"/>
            <a:ext cx="5791199" cy="41888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204" y="1866218"/>
            <a:ext cx="5559779" cy="393084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 sz="2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EEADF9-D1D7-E142-9D0E-9776BD0F38A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105F5061-F14C-FD4E-8331-025C57397F52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D15313-AB9F-F648-A2F7-D2C432CCE1C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9EC7F9-A5EA-9647-952E-B66EBD1C7C8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0107550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20pt_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69C0A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69C0AC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205" y="1880128"/>
            <a:ext cx="11291834" cy="393084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69C0AC"/>
              </a:buClr>
              <a:buSzTx/>
              <a:buFont typeface="Courier New" panose="02070309020205020404" pitchFamily="49" charset="0"/>
              <a:buChar char="o"/>
              <a:tabLst/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69C0A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69C0A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69C0AC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r>
              <a:rPr lang="de-DE" err="1"/>
              <a:t>consetetur</a:t>
            </a:r>
            <a:r>
              <a:rPr lang="de-DE"/>
              <a:t>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br>
              <a:rPr lang="de-DE"/>
            </a:b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E5C914-50DE-DE42-A5D8-3F9F1A876F2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DD044BE-F33C-E54A-8DD9-5DFF44E04C86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C0B184-BBCE-D348-A039-82CC9FF3BDF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A3226B-A49F-4F49-AC04-72B57D397C2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2352621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24pt_ganze 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205" y="1880128"/>
            <a:ext cx="11291834" cy="393084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 sz="2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endParaRPr lang="de-DE"/>
          </a:p>
          <a:p>
            <a:pPr lvl="0"/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7E5E13-EFD1-D044-99F3-C44D55DD503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28CC9E5C-D344-9941-9829-545E63B5DF63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975718B-DC4A-E149-85F3-6F6E3941DCB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285C38-6527-1543-BEE1-0CE3FA21853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1374126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18pt_Bild link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D2E592D-6FF0-7148-A162-616C819393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66218"/>
            <a:ext cx="6851650" cy="409733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08789" y="1880128"/>
            <a:ext cx="4413250" cy="4097338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FFE7FD2-702D-F34C-967F-821878A4E28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E4E064BB-43C6-8C4D-B94C-58AF733F5A85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C4BC42-F6E9-4844-913B-1BA5CB74714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AB1446-E330-0144-AF30-D7A88DCE64D0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10992663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ichpunkte_24pt_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18" name="Bildplatzhalter 17">
            <a:extLst>
              <a:ext uri="{FF2B5EF4-FFF2-40B4-BE49-F238E27FC236}">
                <a16:creationId xmlns:a16="http://schemas.microsoft.com/office/drawing/2014/main" id="{FD2E592D-6FF0-7148-A162-616C819393F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866218"/>
            <a:ext cx="6851650" cy="409733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308789" y="1880128"/>
            <a:ext cx="4413250" cy="3930846"/>
          </a:xfrm>
          <a:prstGeom prst="rect">
            <a:avLst/>
          </a:prstGeom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 sz="24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marL="228600" marR="0" lvl="0" indent="-22860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</a:t>
            </a:r>
            <a:br>
              <a:rPr lang="de-DE"/>
            </a:br>
            <a:r>
              <a:rPr lang="de-DE"/>
              <a:t>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endParaRPr lang="de-DE"/>
          </a:p>
          <a:p>
            <a:pPr lvl="0"/>
            <a:endParaRPr lang="de-DE"/>
          </a:p>
          <a:p>
            <a:pPr lvl="0"/>
            <a:endParaRPr lang="de-DE"/>
          </a:p>
          <a:p>
            <a:pPr lvl="0"/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B626FBC-4B4B-D74B-B03B-40B37631431B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878EC1B-AA02-9F46-9049-8F694A026877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A37E85B-9ED2-874F-8CBD-37CA0812A32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6614642-D53C-B240-86E2-239E1F78D29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9105595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_20pt_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206" y="1880128"/>
            <a:ext cx="5665794" cy="393084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Tx/>
              <a:buNone/>
              <a:tabLst/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.</a:t>
            </a:r>
          </a:p>
        </p:txBody>
      </p:sp>
      <p:sp>
        <p:nvSpPr>
          <p:cNvPr id="7" name="Bildplatzhalter 17">
            <a:extLst>
              <a:ext uri="{FF2B5EF4-FFF2-40B4-BE49-F238E27FC236}">
                <a16:creationId xmlns:a16="http://schemas.microsoft.com/office/drawing/2014/main" id="{36D7F273-D804-8E48-8808-7A112F37B07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92636" y="1741714"/>
            <a:ext cx="5799363" cy="418882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C4F1553-BF85-6149-8003-3996F302D9A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C70133C-7BBC-2243-8E68-5BB8EA0647D1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08AA0B-D7EE-004B-B37B-70CD311B6D1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F58BD40-E98B-C143-8C6E-1A4AF7003BE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379224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_20pt_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>
            <a:extLst>
              <a:ext uri="{FF2B5EF4-FFF2-40B4-BE49-F238E27FC236}">
                <a16:creationId xmlns:a16="http://schemas.microsoft.com/office/drawing/2014/main" id="{73066197-A421-294B-AA83-4394A4446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0205" y="497569"/>
            <a:ext cx="11291834" cy="46166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2581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Headline</a:t>
            </a:r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BCFBE2C3-EB08-004F-BF9C-315D73F7F4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0205" y="1047027"/>
            <a:ext cx="11291834" cy="4616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 i="0">
                <a:solidFill>
                  <a:srgbClr val="2581C4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lvl="0"/>
            <a:r>
              <a:rPr lang="de-DE"/>
              <a:t>Subheadline</a:t>
            </a:r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0619301-33AF-EB46-A8B8-102BFA33F8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76122" y="1904655"/>
            <a:ext cx="5665794" cy="3930846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ts val="3080"/>
              </a:lnSpc>
              <a:spcBef>
                <a:spcPts val="1000"/>
              </a:spcBef>
              <a:spcAft>
                <a:spcPts val="0"/>
              </a:spcAft>
              <a:buClr>
                <a:srgbClr val="2581C4"/>
              </a:buClr>
              <a:buSzTx/>
              <a:buFontTx/>
              <a:buNone/>
              <a:tabLst/>
              <a:defRPr sz="20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defRPr sz="1800" b="0" i="0"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 </a:t>
            </a:r>
            <a:r>
              <a:rPr lang="de-DE" err="1"/>
              <a:t>eirmod</a:t>
            </a:r>
            <a:r>
              <a:rPr lang="de-DE"/>
              <a:t> </a:t>
            </a:r>
            <a:r>
              <a:rPr lang="de-DE" err="1"/>
              <a:t>tempor</a:t>
            </a:r>
            <a:r>
              <a:rPr lang="de-DE"/>
              <a:t> </a:t>
            </a:r>
            <a:r>
              <a:rPr lang="de-DE" err="1"/>
              <a:t>invidunt</a:t>
            </a:r>
            <a:r>
              <a:rPr lang="de-DE"/>
              <a:t> </a:t>
            </a:r>
            <a:r>
              <a:rPr lang="de-DE" err="1"/>
              <a:t>ut</a:t>
            </a:r>
            <a:r>
              <a:rPr lang="de-DE"/>
              <a:t> </a:t>
            </a:r>
            <a:r>
              <a:rPr lang="de-DE" err="1"/>
              <a:t>labore</a:t>
            </a:r>
            <a:r>
              <a:rPr lang="de-DE"/>
              <a:t> et </a:t>
            </a:r>
            <a:r>
              <a:rPr lang="de-DE" err="1"/>
              <a:t>dolore</a:t>
            </a:r>
            <a:r>
              <a:rPr lang="de-DE"/>
              <a:t> magna </a:t>
            </a:r>
            <a:r>
              <a:rPr lang="de-DE" err="1"/>
              <a:t>aliquyam</a:t>
            </a:r>
            <a:r>
              <a:rPr lang="de-DE"/>
              <a:t> </a:t>
            </a:r>
            <a:r>
              <a:rPr lang="de-DE" err="1"/>
              <a:t>erat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voluptua</a:t>
            </a:r>
            <a:r>
              <a:rPr lang="de-DE"/>
              <a:t>. At </a:t>
            </a:r>
            <a:r>
              <a:rPr lang="de-DE" err="1"/>
              <a:t>vero</a:t>
            </a:r>
            <a:r>
              <a:rPr lang="de-DE"/>
              <a:t> </a:t>
            </a:r>
            <a:r>
              <a:rPr lang="de-DE" err="1"/>
              <a:t>eos</a:t>
            </a:r>
            <a:r>
              <a:rPr lang="de-DE"/>
              <a:t> et </a:t>
            </a:r>
            <a:r>
              <a:rPr lang="de-DE" err="1"/>
              <a:t>accusam</a:t>
            </a:r>
            <a:r>
              <a:rPr lang="de-DE"/>
              <a:t> et </a:t>
            </a:r>
            <a:r>
              <a:rPr lang="de-DE" err="1"/>
              <a:t>justo</a:t>
            </a:r>
            <a:r>
              <a:rPr lang="de-DE"/>
              <a:t> </a:t>
            </a:r>
            <a:r>
              <a:rPr lang="de-DE" err="1"/>
              <a:t>duo</a:t>
            </a:r>
            <a:r>
              <a:rPr lang="de-DE"/>
              <a:t> </a:t>
            </a:r>
            <a:r>
              <a:rPr lang="de-DE" err="1"/>
              <a:t>dolores</a:t>
            </a:r>
            <a:r>
              <a:rPr lang="de-DE"/>
              <a:t> et </a:t>
            </a:r>
            <a:r>
              <a:rPr lang="de-DE" err="1"/>
              <a:t>ea</a:t>
            </a:r>
            <a:r>
              <a:rPr lang="de-DE"/>
              <a:t> </a:t>
            </a:r>
            <a:r>
              <a:rPr lang="de-DE" err="1"/>
              <a:t>rebum</a:t>
            </a:r>
            <a:r>
              <a:rPr lang="de-DE"/>
              <a:t>. Stet </a:t>
            </a:r>
            <a:r>
              <a:rPr lang="de-DE" err="1"/>
              <a:t>clita</a:t>
            </a:r>
            <a:r>
              <a:rPr lang="de-DE"/>
              <a:t> </a:t>
            </a:r>
            <a:r>
              <a:rPr lang="de-DE" err="1"/>
              <a:t>kasd</a:t>
            </a:r>
            <a:r>
              <a:rPr lang="de-DE"/>
              <a:t> </a:t>
            </a:r>
            <a:r>
              <a:rPr lang="de-DE" err="1"/>
              <a:t>gubergren</a:t>
            </a:r>
            <a:r>
              <a:rPr lang="de-DE"/>
              <a:t>, </a:t>
            </a:r>
            <a:r>
              <a:rPr lang="de-DE" err="1"/>
              <a:t>no</a:t>
            </a:r>
            <a:r>
              <a:rPr lang="de-DE"/>
              <a:t> </a:t>
            </a:r>
            <a:r>
              <a:rPr lang="de-DE" err="1"/>
              <a:t>sea</a:t>
            </a:r>
            <a:r>
              <a:rPr lang="de-DE"/>
              <a:t> </a:t>
            </a:r>
            <a:r>
              <a:rPr lang="de-DE" err="1"/>
              <a:t>takimata</a:t>
            </a:r>
            <a:r>
              <a:rPr lang="de-DE"/>
              <a:t> sanctus </a:t>
            </a:r>
            <a:r>
              <a:rPr lang="de-DE" err="1"/>
              <a:t>est</a:t>
            </a:r>
            <a:r>
              <a:rPr lang="de-DE"/>
              <a:t>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. </a:t>
            </a:r>
            <a:r>
              <a:rPr lang="de-DE" err="1"/>
              <a:t>Lorem</a:t>
            </a:r>
            <a:r>
              <a:rPr lang="de-DE"/>
              <a:t> </a:t>
            </a:r>
            <a:r>
              <a:rPr lang="de-DE" err="1"/>
              <a:t>ipsum</a:t>
            </a:r>
            <a:r>
              <a:rPr lang="de-DE"/>
              <a:t> </a:t>
            </a:r>
            <a:r>
              <a:rPr lang="de-DE" err="1"/>
              <a:t>dolor</a:t>
            </a:r>
            <a:r>
              <a:rPr lang="de-DE"/>
              <a:t> </a:t>
            </a:r>
            <a:r>
              <a:rPr lang="de-DE" err="1"/>
              <a:t>sit</a:t>
            </a:r>
            <a:r>
              <a:rPr lang="de-DE"/>
              <a:t> </a:t>
            </a:r>
            <a:r>
              <a:rPr lang="de-DE" err="1"/>
              <a:t>amet</a:t>
            </a:r>
            <a:r>
              <a:rPr lang="de-DE"/>
              <a:t>, consetetur </a:t>
            </a:r>
            <a:r>
              <a:rPr lang="de-DE" err="1"/>
              <a:t>sadipscing</a:t>
            </a:r>
            <a:r>
              <a:rPr lang="de-DE"/>
              <a:t> </a:t>
            </a:r>
            <a:r>
              <a:rPr lang="de-DE" err="1"/>
              <a:t>elitr</a:t>
            </a:r>
            <a:r>
              <a:rPr lang="de-DE"/>
              <a:t>, </a:t>
            </a:r>
            <a:r>
              <a:rPr lang="de-DE" err="1"/>
              <a:t>sed</a:t>
            </a:r>
            <a:r>
              <a:rPr lang="de-DE"/>
              <a:t> </a:t>
            </a:r>
            <a:r>
              <a:rPr lang="de-DE" err="1"/>
              <a:t>diam</a:t>
            </a:r>
            <a:r>
              <a:rPr lang="de-DE"/>
              <a:t> </a:t>
            </a:r>
            <a:r>
              <a:rPr lang="de-DE" err="1"/>
              <a:t>nonumy</a:t>
            </a:r>
            <a:r>
              <a:rPr lang="de-DE"/>
              <a:t>.</a:t>
            </a:r>
          </a:p>
        </p:txBody>
      </p:sp>
      <p:sp>
        <p:nvSpPr>
          <p:cNvPr id="7" name="Bildplatzhalter 17">
            <a:extLst>
              <a:ext uri="{FF2B5EF4-FFF2-40B4-BE49-F238E27FC236}">
                <a16:creationId xmlns:a16="http://schemas.microsoft.com/office/drawing/2014/main" id="{36D7F273-D804-8E48-8808-7A112F37B07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904656"/>
            <a:ext cx="5799363" cy="393084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37A3FD-4B1B-1743-8FA8-E7733A1F1D8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647B8E6-F8E2-464A-B0A4-6E8A2ACFFC2E}" type="datetime1">
              <a:rPr lang="de-DE" smtClean="0"/>
              <a:t>20.06.22</a:t>
            </a:fld>
            <a:endParaRPr lang="en-D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AB6DE4-5BBF-F742-9389-386F95B71B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4FD949D-22F1-4D4C-AF8E-C813C0DAB4D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4205503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1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.png"/><Relationship Id="rId5" Type="http://schemas.openxmlformats.org/officeDocument/2006/relationships/image" Target="../media/image6.jpeg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09CC8B3-2865-2447-854A-FA8A224C59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409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2581C4"/>
                </a:solidFill>
              </a:defRPr>
            </a:lvl1pPr>
          </a:lstStyle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2" name="Grafik 9">
            <a:extLst>
              <a:ext uri="{FF2B5EF4-FFF2-40B4-BE49-F238E27FC236}">
                <a16:creationId xmlns:a16="http://schemas.microsoft.com/office/drawing/2014/main" id="{9717D646-ACBC-1148-BA2B-FC61681192CE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rcRect/>
          <a:stretch/>
        </p:blipFill>
        <p:spPr>
          <a:xfrm>
            <a:off x="10277159" y="6225806"/>
            <a:ext cx="1578695" cy="36512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2B4BE5-A3B4-3945-8854-F1C8880B5A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67883" y="6217661"/>
            <a:ext cx="11968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DE" sz="1200" b="1" kern="1200" smtClean="0">
                <a:solidFill>
                  <a:srgbClr val="2581C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4CAD996-76FE-2A4C-99B1-412C5D8D97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6146" y="6217816"/>
            <a:ext cx="10317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DE" sz="1200" b="1" kern="1200" smtClean="0">
                <a:solidFill>
                  <a:srgbClr val="2581C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fld id="{4D730FBE-7FE6-2B43-95A2-84C1C82DE1AB}" type="datetime1">
              <a:rPr lang="de-DE" smtClean="0"/>
              <a:t>20.06.22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014639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68" r:id="rId2"/>
    <p:sldLayoutId id="2147483670" r:id="rId3"/>
    <p:sldLayoutId id="2147483667" r:id="rId4"/>
    <p:sldLayoutId id="2147483671" r:id="rId5"/>
    <p:sldLayoutId id="2147483661" r:id="rId6"/>
    <p:sldLayoutId id="2147483666" r:id="rId7"/>
    <p:sldLayoutId id="2147483674" r:id="rId8"/>
    <p:sldLayoutId id="2147483675" r:id="rId9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2">
            <a:extLst>
              <a:ext uri="{FF2B5EF4-FFF2-40B4-BE49-F238E27FC236}">
                <a16:creationId xmlns:a16="http://schemas.microsoft.com/office/drawing/2014/main" id="{CE8748E1-3038-F344-9BAE-D96272A4BF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l="235" t="16347" r="11615" b="4498"/>
          <a:stretch/>
        </p:blipFill>
        <p:spPr>
          <a:xfrm>
            <a:off x="0" y="0"/>
            <a:ext cx="12192000" cy="593296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79ED8665-1C3D-0C48-860C-883B84C954A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577850" y="379727"/>
            <a:ext cx="768783" cy="917237"/>
          </a:xfrm>
          <a:prstGeom prst="rect">
            <a:avLst/>
          </a:prstGeom>
        </p:spPr>
      </p:pic>
      <p:sp>
        <p:nvSpPr>
          <p:cNvPr id="11" name="Footer Placeholder 7">
            <a:extLst>
              <a:ext uri="{FF2B5EF4-FFF2-40B4-BE49-F238E27FC236}">
                <a16:creationId xmlns:a16="http://schemas.microsoft.com/office/drawing/2014/main" id="{6900F21B-AD71-3B4A-B842-3A68EB1800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409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2581C4"/>
                </a:solidFill>
              </a:defRPr>
            </a:lvl1pPr>
          </a:lstStyle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2" name="Grafik 9">
            <a:extLst>
              <a:ext uri="{FF2B5EF4-FFF2-40B4-BE49-F238E27FC236}">
                <a16:creationId xmlns:a16="http://schemas.microsoft.com/office/drawing/2014/main" id="{C948A3CC-C940-414A-8B4C-49409DFBBD9A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rcRect/>
          <a:stretch/>
        </p:blipFill>
        <p:spPr>
          <a:xfrm>
            <a:off x="10277159" y="6225806"/>
            <a:ext cx="1578695" cy="365125"/>
          </a:xfrm>
          <a:prstGeom prst="rect">
            <a:avLst/>
          </a:prstGeom>
        </p:spPr>
      </p:pic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529AD48A-3BCC-D542-816C-AEEF68A211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67883" y="6217661"/>
            <a:ext cx="11968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DE" sz="1200" b="1" kern="1200" smtClean="0">
                <a:solidFill>
                  <a:srgbClr val="2581C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EB08D94A-2C2F-884E-BBAB-D58E40AF17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6146" y="6217816"/>
            <a:ext cx="10317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DE" sz="1200" b="1" kern="1200" smtClean="0">
                <a:solidFill>
                  <a:srgbClr val="2581C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fld id="{9D37A616-8E74-5C48-946F-52DD291E3BF3}" type="datetime1">
              <a:rPr lang="de-DE" smtClean="0"/>
              <a:t>20.06.22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3420203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9" r:id="rId2"/>
    <p:sldLayoutId id="2147483690" r:id="rId3"/>
    <p:sldLayoutId id="2147483682" r:id="rId4"/>
    <p:sldLayoutId id="2147483684" r:id="rId5"/>
    <p:sldLayoutId id="2147483688" r:id="rId6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4">
            <a:extLst>
              <a:ext uri="{FF2B5EF4-FFF2-40B4-BE49-F238E27FC236}">
                <a16:creationId xmlns:a16="http://schemas.microsoft.com/office/drawing/2014/main" id="{64071A1B-1F51-A548-88FB-B53C3617A383}"/>
              </a:ext>
            </a:extLst>
          </p:cNvPr>
          <p:cNvSpPr/>
          <p:nvPr userDrawn="1"/>
        </p:nvSpPr>
        <p:spPr>
          <a:xfrm>
            <a:off x="-1" y="0"/>
            <a:ext cx="8153401" cy="6858000"/>
          </a:xfrm>
          <a:prstGeom prst="rect">
            <a:avLst/>
          </a:prstGeom>
          <a:solidFill>
            <a:srgbClr val="29B8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9" name="Grafik 5">
            <a:extLst>
              <a:ext uri="{FF2B5EF4-FFF2-40B4-BE49-F238E27FC236}">
                <a16:creationId xmlns:a16="http://schemas.microsoft.com/office/drawing/2014/main" id="{DCB1B58E-8722-854C-929C-E192F9566F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48298" r="25136"/>
          <a:stretch/>
        </p:blipFill>
        <p:spPr>
          <a:xfrm>
            <a:off x="0" y="0"/>
            <a:ext cx="4038600" cy="6858000"/>
          </a:xfrm>
          <a:prstGeom prst="rect">
            <a:avLst/>
          </a:prstGeom>
        </p:spPr>
      </p:pic>
      <p:sp>
        <p:nvSpPr>
          <p:cNvPr id="6" name="Footer Placeholder 7">
            <a:extLst>
              <a:ext uri="{FF2B5EF4-FFF2-40B4-BE49-F238E27FC236}">
                <a16:creationId xmlns:a16="http://schemas.microsoft.com/office/drawing/2014/main" id="{285C8827-2838-514F-B0DE-703A8F8113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22409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de-DE" b="1">
                <a:cs typeface="Calibri" panose="020F0502020204030204" pitchFamily="34" charset="0"/>
              </a:rPr>
              <a:t>CampusOS // Speaker // Presentation</a:t>
            </a:r>
            <a:endParaRPr lang="de-DE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7" name="Grafik 9">
            <a:extLst>
              <a:ext uri="{FF2B5EF4-FFF2-40B4-BE49-F238E27FC236}">
                <a16:creationId xmlns:a16="http://schemas.microsoft.com/office/drawing/2014/main" id="{3B7A7AF0-4FDC-3A48-BA8D-A1941E68480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rcRect/>
          <a:stretch/>
        </p:blipFill>
        <p:spPr>
          <a:xfrm>
            <a:off x="10277159" y="6225806"/>
            <a:ext cx="1578695" cy="365125"/>
          </a:xfrm>
          <a:prstGeom prst="rect">
            <a:avLst/>
          </a:prstGeom>
        </p:spPr>
      </p:pic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FE3CC1A8-6D9C-FA4A-BA19-51859F3F2A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367883" y="6217661"/>
            <a:ext cx="11968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DE" sz="1200" b="1" kern="120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fld id="{D375E7DE-9AA3-EB43-B5E8-BA1371B996D3}" type="slidenum">
              <a:rPr lang="en-DE" smtClean="0"/>
              <a:pPr/>
              <a:t>‹#›</a:t>
            </a:fld>
            <a:endParaRPr lang="en-DE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BB4406E8-C8D7-9647-8228-4D65A4FDCF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36146" y="6217816"/>
            <a:ext cx="10317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DE" sz="1200" b="1" kern="1200" smtClean="0">
                <a:solidFill>
                  <a:schemeClr val="bg1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fld id="{990E1623-904A-374C-9951-D65043E8EBD2}" type="datetime1">
              <a:rPr lang="de-DE" smtClean="0"/>
              <a:t>20.06.22</a:t>
            </a:fld>
            <a:endParaRPr lang="en-DE"/>
          </a:p>
        </p:txBody>
      </p:sp>
    </p:spTree>
    <p:extLst>
      <p:ext uri="{BB962C8B-B14F-4D97-AF65-F5344CB8AC3E}">
        <p14:creationId xmlns:p14="http://schemas.microsoft.com/office/powerpoint/2010/main" val="2749417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80" r:id="rId2"/>
    <p:sldLayoutId id="2147483679" r:id="rId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7BEC518-8DE6-9648-BD4A-A1BCE080474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1796" y="3069659"/>
            <a:ext cx="8275117" cy="1090613"/>
          </a:xfrm>
        </p:spPr>
        <p:txBody>
          <a:bodyPr lIns="91440" tIns="45720" rIns="91440" bIns="45720" anchor="t"/>
          <a:lstStyle/>
          <a:p>
            <a:r>
              <a:rPr lang="de-DE" sz="5400">
                <a:latin typeface="Calibri"/>
                <a:cs typeface="Calibri"/>
              </a:rPr>
              <a:t>Satelliten-Workshop</a:t>
            </a:r>
            <a:endParaRPr lang="en-US" sz="5400">
              <a:latin typeface="Calibri"/>
              <a:cs typeface="Calibri"/>
            </a:endParaRPr>
          </a:p>
          <a:p>
            <a:r>
              <a:rPr lang="de-DE" sz="2000" b="0">
                <a:latin typeface="Calibri"/>
                <a:cs typeface="Calibri"/>
              </a:rPr>
              <a:t>Block 2 – Betreibermodelle &amp; Wertschöpfungsketten</a:t>
            </a:r>
            <a:endParaRPr lang="de-DE" sz="2000">
              <a:latin typeface="Calibri"/>
              <a:cs typeface="Calibri"/>
            </a:endParaRPr>
          </a:p>
          <a:p>
            <a:endParaRPr lang="de-DE" sz="2000">
              <a:latin typeface="Calibri"/>
              <a:cs typeface="Calibri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626F5E-F98E-1C4C-8A35-413992ACA2A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21. &amp; 22. Juni 2022</a:t>
            </a:r>
            <a:endParaRPr lang="en-DE"/>
          </a:p>
        </p:txBody>
      </p:sp>
      <p:pic>
        <p:nvPicPr>
          <p:cNvPr id="1026" name="Picture 2" descr="Quellbild anzeig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540" y="6055713"/>
            <a:ext cx="776512" cy="649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1E5AA7A0-DB0B-2A7A-1F0D-749559BE183E}"/>
              </a:ext>
            </a:extLst>
          </p:cNvPr>
          <p:cNvGrpSpPr>
            <a:grpSpLocks noChangeAspect="1"/>
          </p:cNvGrpSpPr>
          <p:nvPr/>
        </p:nvGrpSpPr>
        <p:grpSpPr>
          <a:xfrm>
            <a:off x="859690" y="1334531"/>
            <a:ext cx="4146812" cy="1312878"/>
            <a:chOff x="4614041" y="1355834"/>
            <a:chExt cx="3731173" cy="118128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5C58B127-A62B-E76E-EC54-ECDC31B5B3FA}"/>
                </a:ext>
              </a:extLst>
            </p:cNvPr>
            <p:cNvSpPr/>
            <p:nvPr/>
          </p:nvSpPr>
          <p:spPr>
            <a:xfrm>
              <a:off x="4614041" y="1355834"/>
              <a:ext cx="3731173" cy="1181287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pic>
          <p:nvPicPr>
            <p:cNvPr id="8" name="Google Shape;9;p1">
              <a:extLst>
                <a:ext uri="{FF2B5EF4-FFF2-40B4-BE49-F238E27FC236}">
                  <a16:creationId xmlns:a16="http://schemas.microsoft.com/office/drawing/2014/main" id="{42761F50-5665-DF0D-2AFD-E03B5A23356D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3">
              <a:alphaModFix/>
            </a:blip>
            <a:stretch>
              <a:fillRect/>
            </a:stretch>
          </p:blipFill>
          <p:spPr>
            <a:xfrm>
              <a:off x="4614042" y="1389789"/>
              <a:ext cx="3731172" cy="1147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DCAFDD2-F837-38EA-EAB7-DE07C4F525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9690" y="4558464"/>
            <a:ext cx="5738179" cy="325437"/>
          </a:xfrm>
        </p:spPr>
        <p:txBody>
          <a:bodyPr/>
          <a:lstStyle/>
          <a:p>
            <a:r>
              <a:rPr lang="de-DE" sz="1600" dirty="0">
                <a:latin typeface="Calibri Light"/>
                <a:ea typeface="+mn-lt"/>
                <a:cs typeface="Calibri Light"/>
              </a:rPr>
              <a:t>Prof. Dr. Dirk Kutscher – University </a:t>
            </a:r>
            <a:r>
              <a:rPr lang="de-DE" sz="1600" dirty="0" err="1">
                <a:latin typeface="Calibri Light"/>
                <a:ea typeface="+mn-lt"/>
                <a:cs typeface="Calibri Light"/>
              </a:rPr>
              <a:t>of</a:t>
            </a:r>
            <a:r>
              <a:rPr lang="de-DE" sz="1600" dirty="0">
                <a:latin typeface="Calibri Light"/>
                <a:ea typeface="+mn-lt"/>
                <a:cs typeface="Calibri Light"/>
              </a:rPr>
              <a:t> Applied Sciences Emden/Leer</a:t>
            </a:r>
            <a:endParaRPr lang="de-DE" sz="16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51809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014F45-ABBF-4FE5-A0AD-9155D6C6F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VERIC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8FDEA2A-2DDA-4B72-BA00-0396B4239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Operator Models &amp; Value Chains: Technical View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49AD470-1E93-4F5C-B052-2179CA84F0D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5897" y="1880128"/>
            <a:ext cx="11916102" cy="4297880"/>
          </a:xfrm>
        </p:spPr>
        <p:txBody>
          <a:bodyPr/>
          <a:lstStyle/>
          <a:p>
            <a:r>
              <a:rPr lang="de-DE" dirty="0"/>
              <a:t>Campus network </a:t>
            </a:r>
            <a:r>
              <a:rPr lang="de-DE" dirty="0" err="1"/>
              <a:t>for</a:t>
            </a:r>
            <a:r>
              <a:rPr lang="de-DE" dirty="0"/>
              <a:t> larger </a:t>
            </a:r>
            <a:r>
              <a:rPr lang="de-DE" dirty="0" err="1"/>
              <a:t>enterprise</a:t>
            </a:r>
            <a:endParaRPr lang="de-DE" dirty="0"/>
          </a:p>
          <a:p>
            <a:pPr lvl="1"/>
            <a:r>
              <a:rPr lang="de-DE" dirty="0"/>
              <a:t>Own IT </a:t>
            </a:r>
            <a:r>
              <a:rPr lang="de-DE" dirty="0" err="1"/>
              <a:t>department</a:t>
            </a:r>
            <a:r>
              <a:rPr lang="de-DE" dirty="0"/>
              <a:t> –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a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manage 5G </a:t>
            </a:r>
            <a:r>
              <a:rPr lang="de-DE" dirty="0" err="1"/>
              <a:t>campus</a:t>
            </a:r>
            <a:r>
              <a:rPr lang="de-DE" dirty="0"/>
              <a:t> network</a:t>
            </a:r>
          </a:p>
          <a:p>
            <a:pPr lvl="1"/>
            <a:r>
              <a:rPr lang="de-DE" dirty="0" err="1"/>
              <a:t>Certain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respec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auto-management, </a:t>
            </a:r>
            <a:r>
              <a:rPr lang="de-DE" dirty="0" err="1"/>
              <a:t>resource</a:t>
            </a:r>
            <a:r>
              <a:rPr lang="de-DE" dirty="0"/>
              <a:t> </a:t>
            </a:r>
            <a:r>
              <a:rPr lang="de-DE" dirty="0" err="1"/>
              <a:t>orchestration</a:t>
            </a:r>
            <a:r>
              <a:rPr lang="de-DE" dirty="0"/>
              <a:t> etc.</a:t>
            </a:r>
          </a:p>
          <a:p>
            <a:pPr lvl="1"/>
            <a:r>
              <a:rPr lang="de-DE" dirty="0"/>
              <a:t>Middleware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application</a:t>
            </a:r>
            <a:r>
              <a:rPr lang="de-DE" dirty="0"/>
              <a:t> </a:t>
            </a:r>
            <a:r>
              <a:rPr lang="de-DE" dirty="0" err="1"/>
              <a:t>integration</a:t>
            </a:r>
            <a:r>
              <a:rPr lang="de-DE" dirty="0"/>
              <a:t>: </a:t>
            </a:r>
            <a:r>
              <a:rPr lang="de-DE" dirty="0" err="1"/>
              <a:t>need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open, </a:t>
            </a:r>
            <a:r>
              <a:rPr lang="de-DE" dirty="0" err="1"/>
              <a:t>sufficiently</a:t>
            </a:r>
            <a:r>
              <a:rPr lang="de-DE" dirty="0"/>
              <a:t> user-</a:t>
            </a:r>
            <a:r>
              <a:rPr lang="de-DE" dirty="0" err="1"/>
              <a:t>friendly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onboarding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applications</a:t>
            </a:r>
            <a:r>
              <a:rPr lang="de-DE" dirty="0"/>
              <a:t> etc.</a:t>
            </a:r>
          </a:p>
          <a:p>
            <a:r>
              <a:rPr lang="de-DE" dirty="0"/>
              <a:t>User </a:t>
            </a:r>
            <a:r>
              <a:rPr lang="de-DE" dirty="0" err="1"/>
              <a:t>groups</a:t>
            </a:r>
            <a:endParaRPr lang="de-DE" dirty="0"/>
          </a:p>
          <a:p>
            <a:pPr lvl="1"/>
            <a:r>
              <a:rPr lang="de-DE" dirty="0"/>
              <a:t>Company </a:t>
            </a:r>
            <a:r>
              <a:rPr lang="de-DE" dirty="0" err="1"/>
              <a:t>staff</a:t>
            </a:r>
            <a:endParaRPr lang="de-DE" dirty="0"/>
          </a:p>
          <a:p>
            <a:pPr lvl="1"/>
            <a:r>
              <a:rPr lang="de-DE" dirty="0"/>
              <a:t>Visitors (</a:t>
            </a:r>
            <a:r>
              <a:rPr lang="de-DE" dirty="0" err="1"/>
              <a:t>contractors</a:t>
            </a:r>
            <a:r>
              <a:rPr lang="de-DE" dirty="0"/>
              <a:t>, </a:t>
            </a:r>
            <a:r>
              <a:rPr lang="de-DE" dirty="0" err="1"/>
              <a:t>customers</a:t>
            </a:r>
            <a:r>
              <a:rPr lang="de-DE" dirty="0"/>
              <a:t> etc.)</a:t>
            </a:r>
          </a:p>
          <a:p>
            <a:pPr lvl="1"/>
            <a:r>
              <a:rPr lang="de-DE" dirty="0"/>
              <a:t>Other </a:t>
            </a:r>
            <a:r>
              <a:rPr lang="de-DE" dirty="0" err="1"/>
              <a:t>user</a:t>
            </a:r>
            <a:r>
              <a:rPr lang="de-DE" dirty="0"/>
              <a:t> </a:t>
            </a:r>
            <a:r>
              <a:rPr lang="de-DE" dirty="0" err="1"/>
              <a:t>groups</a:t>
            </a:r>
            <a:endParaRPr lang="de-DE" dirty="0"/>
          </a:p>
          <a:p>
            <a:r>
              <a:rPr lang="de-DE" dirty="0"/>
              <a:t>Multi-site</a:t>
            </a:r>
          </a:p>
          <a:p>
            <a:pPr lvl="1"/>
            <a:r>
              <a:rPr lang="de-DE" dirty="0" err="1"/>
              <a:t>Replicated</a:t>
            </a:r>
            <a:r>
              <a:rPr lang="de-DE" dirty="0"/>
              <a:t> </a:t>
            </a:r>
            <a:r>
              <a:rPr lang="de-DE" dirty="0" err="1"/>
              <a:t>networks</a:t>
            </a:r>
            <a:r>
              <a:rPr lang="de-DE" dirty="0"/>
              <a:t> at multiple </a:t>
            </a:r>
            <a:r>
              <a:rPr lang="de-DE" dirty="0" err="1"/>
              <a:t>sites</a:t>
            </a:r>
            <a:endParaRPr lang="de-DE" dirty="0"/>
          </a:p>
          <a:p>
            <a:pPr lvl="1"/>
            <a:r>
              <a:rPr lang="de-DE" dirty="0"/>
              <a:t>Roaming</a:t>
            </a:r>
          </a:p>
          <a:p>
            <a:pPr lvl="1"/>
            <a:r>
              <a:rPr lang="de-DE" dirty="0"/>
              <a:t>User-identity </a:t>
            </a:r>
            <a:r>
              <a:rPr lang="de-DE" dirty="0" err="1"/>
              <a:t>independe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network </a:t>
            </a:r>
            <a:r>
              <a:rPr lang="de-DE" dirty="0" err="1"/>
              <a:t>access</a:t>
            </a:r>
            <a:endParaRPr lang="de-DE" dirty="0"/>
          </a:p>
          <a:p>
            <a:pPr lvl="1"/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B1E0DDE-0EEC-452F-BFD4-CC6DC45430C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DD044BE-F33C-E54A-8DD9-5DFF44E04C86}" type="datetime1">
              <a:rPr lang="de-DE" smtClean="0"/>
              <a:t>20.06.22</a:t>
            </a:fld>
            <a:endParaRPr lang="en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A691672-BA47-4B42-BF45-48CC9D7DD9B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2</a:t>
            </a:fld>
            <a:endParaRPr lang="en-DE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A800282-BEB0-AA37-4806-3BF0721895DD}"/>
              </a:ext>
            </a:extLst>
          </p:cNvPr>
          <p:cNvGrpSpPr>
            <a:grpSpLocks noChangeAspect="1"/>
          </p:cNvGrpSpPr>
          <p:nvPr/>
        </p:nvGrpSpPr>
        <p:grpSpPr>
          <a:xfrm>
            <a:off x="9287932" y="0"/>
            <a:ext cx="2904067" cy="919426"/>
            <a:chOff x="4614041" y="1355834"/>
            <a:chExt cx="3731173" cy="118128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45F33B2-9479-9DB4-BE9B-11D26D4C76F7}"/>
                </a:ext>
              </a:extLst>
            </p:cNvPr>
            <p:cNvSpPr/>
            <p:nvPr/>
          </p:nvSpPr>
          <p:spPr>
            <a:xfrm>
              <a:off x="4614041" y="1355834"/>
              <a:ext cx="3731173" cy="1181287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pic>
          <p:nvPicPr>
            <p:cNvPr id="12" name="Google Shape;9;p1">
              <a:extLst>
                <a:ext uri="{FF2B5EF4-FFF2-40B4-BE49-F238E27FC236}">
                  <a16:creationId xmlns:a16="http://schemas.microsoft.com/office/drawing/2014/main" id="{E72B8696-FB13-7373-1C57-6D41F5B91342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4614042" y="1389789"/>
              <a:ext cx="3731172" cy="1147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5707B1D8-BF83-BBC5-31FB-F5CEFBBD7B0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038600" y="6224093"/>
            <a:ext cx="4114800" cy="365125"/>
          </a:xfrm>
        </p:spPr>
        <p:txBody>
          <a:bodyPr/>
          <a:lstStyle/>
          <a:p>
            <a:r>
              <a:rPr lang="de-DE" b="1" dirty="0" err="1">
                <a:cs typeface="Calibri" panose="020F0502020204030204" pitchFamily="34" charset="0"/>
              </a:rPr>
              <a:t>CampusOS</a:t>
            </a:r>
            <a:r>
              <a:rPr lang="de-DE" b="1" dirty="0">
                <a:cs typeface="Calibri" panose="020F0502020204030204" pitchFamily="34" charset="0"/>
              </a:rPr>
              <a:t> // Dirk Kutscher // MAVERIC</a:t>
            </a: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98641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014F45-ABBF-4FE5-A0AD-9155D6C6F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VERIC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8FDEA2A-2DDA-4B72-BA00-0396B4239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Operator Models &amp; Value Chains: Economics View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49AD470-1E93-4F5C-B052-2179CA84F0D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5897" y="1880128"/>
            <a:ext cx="11916102" cy="4297880"/>
          </a:xfrm>
        </p:spPr>
        <p:txBody>
          <a:bodyPr/>
          <a:lstStyle/>
          <a:p>
            <a:r>
              <a:rPr lang="de-DE" dirty="0"/>
              <a:t>Campus network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turn-</a:t>
            </a:r>
            <a:r>
              <a:rPr lang="de-DE" dirty="0" err="1"/>
              <a:t>key</a:t>
            </a:r>
            <a:r>
              <a:rPr lang="de-DE" dirty="0"/>
              <a:t> </a:t>
            </a:r>
            <a:r>
              <a:rPr lang="de-DE" dirty="0" err="1"/>
              <a:t>application</a:t>
            </a:r>
            <a:endParaRPr lang="de-DE" dirty="0"/>
          </a:p>
          <a:p>
            <a:pPr lvl="1"/>
            <a:r>
              <a:rPr lang="de-DE" dirty="0" err="1"/>
              <a:t>Under</a:t>
            </a:r>
            <a:r>
              <a:rPr lang="de-DE" dirty="0"/>
              <a:t> </a:t>
            </a:r>
            <a:r>
              <a:rPr lang="de-DE" dirty="0" err="1"/>
              <a:t>control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nterprise</a:t>
            </a:r>
            <a:endParaRPr lang="de-DE" dirty="0"/>
          </a:p>
          <a:p>
            <a:pPr lvl="1"/>
            <a:r>
              <a:rPr lang="de-DE" dirty="0"/>
              <a:t>Like WiFi </a:t>
            </a:r>
            <a:r>
              <a:rPr lang="de-DE" dirty="0" err="1"/>
              <a:t>today</a:t>
            </a:r>
            <a:r>
              <a:rPr lang="de-DE" dirty="0"/>
              <a:t>…</a:t>
            </a:r>
          </a:p>
          <a:p>
            <a:r>
              <a:rPr lang="de-DE" dirty="0" err="1"/>
              <a:t>Could</a:t>
            </a:r>
            <a:r>
              <a:rPr lang="de-DE" dirty="0"/>
              <a:t> also </a:t>
            </a:r>
            <a:r>
              <a:rPr lang="de-DE" dirty="0" err="1"/>
              <a:t>think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ird</a:t>
            </a:r>
            <a:r>
              <a:rPr lang="de-DE" dirty="0"/>
              <a:t>-party </a:t>
            </a:r>
            <a:r>
              <a:rPr lang="de-DE" dirty="0" err="1"/>
              <a:t>operator</a:t>
            </a:r>
            <a:endParaRPr lang="de-DE" dirty="0"/>
          </a:p>
          <a:p>
            <a:pPr lvl="1"/>
            <a:r>
              <a:rPr lang="de-DE" dirty="0"/>
              <a:t>Risk: </a:t>
            </a:r>
            <a:r>
              <a:rPr lang="de-DE" dirty="0" err="1"/>
              <a:t>cost</a:t>
            </a:r>
            <a:r>
              <a:rPr lang="de-DE" dirty="0"/>
              <a:t> </a:t>
            </a:r>
            <a:r>
              <a:rPr lang="de-DE" dirty="0" err="1"/>
              <a:t>explosion</a:t>
            </a:r>
            <a:r>
              <a:rPr lang="de-DE" dirty="0"/>
              <a:t> </a:t>
            </a:r>
            <a:r>
              <a:rPr lang="de-DE" dirty="0" err="1"/>
              <a:t>through</a:t>
            </a:r>
            <a:r>
              <a:rPr lang="de-DE" dirty="0"/>
              <a:t> </a:t>
            </a:r>
            <a:r>
              <a:rPr lang="de-DE" dirty="0" err="1"/>
              <a:t>rent-seeking</a:t>
            </a:r>
            <a:r>
              <a:rPr lang="de-DE" dirty="0"/>
              <a:t> </a:t>
            </a:r>
            <a:r>
              <a:rPr lang="de-DE" dirty="0" err="1"/>
              <a:t>business</a:t>
            </a:r>
            <a:r>
              <a:rPr lang="de-DE" dirty="0"/>
              <a:t> </a:t>
            </a:r>
            <a:r>
              <a:rPr lang="de-DE" dirty="0" err="1"/>
              <a:t>models</a:t>
            </a:r>
            <a:r>
              <a:rPr lang="de-DE" dirty="0"/>
              <a:t>…</a:t>
            </a:r>
          </a:p>
          <a:p>
            <a:r>
              <a:rPr lang="de-DE" dirty="0"/>
              <a:t>Open </a:t>
            </a:r>
            <a:r>
              <a:rPr lang="de-DE" dirty="0" err="1"/>
              <a:t>interfaces</a:t>
            </a:r>
            <a:endParaRPr lang="de-DE" dirty="0"/>
          </a:p>
          <a:p>
            <a:pPr lvl="1"/>
            <a:r>
              <a:rPr lang="de-DE" dirty="0"/>
              <a:t>ORAN: </a:t>
            </a:r>
            <a:r>
              <a:rPr lang="de-DE" dirty="0" err="1"/>
              <a:t>should</a:t>
            </a:r>
            <a:r>
              <a:rPr lang="de-DE" dirty="0"/>
              <a:t> </a:t>
            </a:r>
            <a:r>
              <a:rPr lang="de-DE" dirty="0" err="1"/>
              <a:t>enable</a:t>
            </a:r>
            <a:r>
              <a:rPr lang="de-DE" dirty="0"/>
              <a:t> </a:t>
            </a:r>
            <a:r>
              <a:rPr lang="de-DE" dirty="0" err="1"/>
              <a:t>disaggregation</a:t>
            </a:r>
            <a:r>
              <a:rPr lang="de-DE" dirty="0"/>
              <a:t> and </a:t>
            </a:r>
            <a:r>
              <a:rPr lang="de-DE" dirty="0" err="1"/>
              <a:t>interoperability</a:t>
            </a:r>
            <a:r>
              <a:rPr lang="de-DE" dirty="0"/>
              <a:t>: </a:t>
            </a:r>
            <a:r>
              <a:rPr lang="de-DE" dirty="0" err="1"/>
              <a:t>ne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ssess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, </a:t>
            </a:r>
            <a:r>
              <a:rPr lang="de-DE" dirty="0" err="1"/>
              <a:t>general</a:t>
            </a:r>
            <a:r>
              <a:rPr lang="de-DE" dirty="0"/>
              <a:t> </a:t>
            </a:r>
            <a:r>
              <a:rPr lang="de-DE" dirty="0" err="1"/>
              <a:t>feasibility</a:t>
            </a:r>
            <a:r>
              <a:rPr lang="de-DE" dirty="0"/>
              <a:t> and ORAN </a:t>
            </a:r>
            <a:r>
              <a:rPr lang="de-DE" dirty="0" err="1"/>
              <a:t>future</a:t>
            </a:r>
            <a:r>
              <a:rPr lang="de-DE" dirty="0"/>
              <a:t> </a:t>
            </a:r>
            <a:r>
              <a:rPr lang="de-DE" dirty="0" err="1"/>
              <a:t>during</a:t>
            </a:r>
            <a:r>
              <a:rPr lang="de-DE" dirty="0"/>
              <a:t> </a:t>
            </a:r>
            <a:r>
              <a:rPr lang="de-DE" dirty="0" err="1"/>
              <a:t>cours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project</a:t>
            </a:r>
            <a:endParaRPr lang="de-DE" dirty="0"/>
          </a:p>
          <a:p>
            <a:pPr lvl="1"/>
            <a:r>
              <a:rPr lang="de-DE" dirty="0"/>
              <a:t>Other </a:t>
            </a:r>
            <a:r>
              <a:rPr lang="de-DE" dirty="0" err="1"/>
              <a:t>interfaces</a:t>
            </a:r>
            <a:r>
              <a:rPr lang="de-DE" dirty="0"/>
              <a:t>/</a:t>
            </a:r>
            <a:r>
              <a:rPr lang="de-DE" dirty="0" err="1"/>
              <a:t>platform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standardized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disaggregation</a:t>
            </a:r>
            <a:r>
              <a:rPr lang="de-DE" dirty="0"/>
              <a:t> and </a:t>
            </a:r>
            <a:r>
              <a:rPr lang="de-DE" dirty="0" err="1"/>
              <a:t>operator</a:t>
            </a:r>
            <a:r>
              <a:rPr lang="de-DE" dirty="0"/>
              <a:t> </a:t>
            </a:r>
            <a:r>
              <a:rPr lang="de-DE" dirty="0" err="1"/>
              <a:t>independence</a:t>
            </a:r>
            <a:r>
              <a:rPr lang="de-DE" dirty="0"/>
              <a:t>:</a:t>
            </a:r>
          </a:p>
          <a:p>
            <a:pPr lvl="2"/>
            <a:r>
              <a:rPr lang="de-DE" dirty="0" err="1"/>
              <a:t>Orchestrators</a:t>
            </a:r>
            <a:r>
              <a:rPr lang="de-DE" dirty="0"/>
              <a:t> (REST APIs etc.)</a:t>
            </a:r>
          </a:p>
          <a:p>
            <a:pPr lvl="2"/>
            <a:r>
              <a:rPr lang="de-DE" dirty="0"/>
              <a:t>In-Network Computing </a:t>
            </a:r>
            <a:r>
              <a:rPr lang="de-DE" dirty="0" err="1"/>
              <a:t>platforms</a:t>
            </a:r>
            <a:r>
              <a:rPr lang="de-DE" dirty="0"/>
              <a:t> and modern </a:t>
            </a:r>
            <a:r>
              <a:rPr lang="de-DE" dirty="0" err="1"/>
              <a:t>protocols</a:t>
            </a:r>
            <a:endParaRPr lang="de-DE" dirty="0"/>
          </a:p>
          <a:p>
            <a:pPr lvl="1"/>
            <a:endParaRPr lang="de-DE" dirty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B1E0DDE-0EEC-452F-BFD4-CC6DC45430C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DD044BE-F33C-E54A-8DD9-5DFF44E04C86}" type="datetime1">
              <a:rPr lang="de-DE" smtClean="0"/>
              <a:t>20.06.22</a:t>
            </a:fld>
            <a:endParaRPr lang="en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A691672-BA47-4B42-BF45-48CC9D7DD9B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3</a:t>
            </a:fld>
            <a:endParaRPr lang="en-DE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A800282-BEB0-AA37-4806-3BF0721895DD}"/>
              </a:ext>
            </a:extLst>
          </p:cNvPr>
          <p:cNvGrpSpPr>
            <a:grpSpLocks noChangeAspect="1"/>
          </p:cNvGrpSpPr>
          <p:nvPr/>
        </p:nvGrpSpPr>
        <p:grpSpPr>
          <a:xfrm>
            <a:off x="9287932" y="0"/>
            <a:ext cx="2904067" cy="919426"/>
            <a:chOff x="4614041" y="1355834"/>
            <a:chExt cx="3731173" cy="118128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45F33B2-9479-9DB4-BE9B-11D26D4C76F7}"/>
                </a:ext>
              </a:extLst>
            </p:cNvPr>
            <p:cNvSpPr/>
            <p:nvPr/>
          </p:nvSpPr>
          <p:spPr>
            <a:xfrm>
              <a:off x="4614041" y="1355834"/>
              <a:ext cx="3731173" cy="1181287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pic>
          <p:nvPicPr>
            <p:cNvPr id="12" name="Google Shape;9;p1">
              <a:extLst>
                <a:ext uri="{FF2B5EF4-FFF2-40B4-BE49-F238E27FC236}">
                  <a16:creationId xmlns:a16="http://schemas.microsoft.com/office/drawing/2014/main" id="{E72B8696-FB13-7373-1C57-6D41F5B91342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4614042" y="1389789"/>
              <a:ext cx="3731172" cy="1147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5707B1D8-BF83-BBC5-31FB-F5CEFBBD7B0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038600" y="6224093"/>
            <a:ext cx="4114800" cy="365125"/>
          </a:xfrm>
        </p:spPr>
        <p:txBody>
          <a:bodyPr/>
          <a:lstStyle/>
          <a:p>
            <a:r>
              <a:rPr lang="de-DE" b="1" dirty="0" err="1">
                <a:cs typeface="Calibri" panose="020F0502020204030204" pitchFamily="34" charset="0"/>
              </a:rPr>
              <a:t>CampusOS</a:t>
            </a:r>
            <a:r>
              <a:rPr lang="de-DE" b="1" dirty="0">
                <a:cs typeface="Calibri" panose="020F0502020204030204" pitchFamily="34" charset="0"/>
              </a:rPr>
              <a:t> // Dirk Kutscher // MAVERIC</a:t>
            </a: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61258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014F45-ABBF-4FE5-A0AD-9155D6C6F7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VERIC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8FDEA2A-2DDA-4B72-BA00-0396B42399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 err="1"/>
              <a:t>Idea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Future Work and Challenges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49AD470-1E93-4F5C-B052-2179CA84F0D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5897" y="1880128"/>
            <a:ext cx="11916102" cy="4297880"/>
          </a:xfrm>
        </p:spPr>
        <p:txBody>
          <a:bodyPr/>
          <a:lstStyle/>
          <a:p>
            <a:r>
              <a:rPr lang="de-DE" dirty="0" err="1"/>
              <a:t>Potentially</a:t>
            </a:r>
            <a:r>
              <a:rPr lang="de-DE" dirty="0"/>
              <a:t> </a:t>
            </a:r>
            <a:r>
              <a:rPr lang="de-DE" dirty="0" err="1"/>
              <a:t>interesting</a:t>
            </a:r>
            <a:r>
              <a:rPr lang="de-DE" dirty="0"/>
              <a:t>: </a:t>
            </a:r>
            <a:r>
              <a:rPr lang="de-DE" dirty="0" err="1"/>
              <a:t>self-operated</a:t>
            </a:r>
            <a:r>
              <a:rPr lang="de-DE" dirty="0"/>
              <a:t> 5G </a:t>
            </a:r>
            <a:r>
              <a:rPr lang="de-DE" dirty="0" err="1"/>
              <a:t>campus</a:t>
            </a:r>
            <a:r>
              <a:rPr lang="de-DE" dirty="0"/>
              <a:t> network</a:t>
            </a:r>
          </a:p>
          <a:p>
            <a:pPr lvl="1"/>
            <a:r>
              <a:rPr lang="de-DE" dirty="0"/>
              <a:t>Auto-</a:t>
            </a:r>
            <a:r>
              <a:rPr lang="de-DE" dirty="0" err="1"/>
              <a:t>configuration</a:t>
            </a:r>
            <a:endParaRPr lang="de-DE" dirty="0"/>
          </a:p>
          <a:p>
            <a:pPr lvl="1"/>
            <a:r>
              <a:rPr lang="de-DE" dirty="0"/>
              <a:t>Auto-</a:t>
            </a:r>
            <a:r>
              <a:rPr lang="de-DE" dirty="0" err="1"/>
              <a:t>optimization</a:t>
            </a:r>
            <a:endParaRPr lang="de-DE" dirty="0"/>
          </a:p>
          <a:p>
            <a:pPr lvl="1"/>
            <a:r>
              <a:rPr lang="de-DE" dirty="0"/>
              <a:t>Still </a:t>
            </a:r>
            <a:r>
              <a:rPr lang="de-DE" dirty="0" err="1"/>
              <a:t>some</a:t>
            </a:r>
            <a:r>
              <a:rPr lang="de-DE" dirty="0"/>
              <a:t> </a:t>
            </a:r>
            <a:r>
              <a:rPr lang="de-DE" dirty="0" err="1"/>
              <a:t>flexibility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respec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xtensions</a:t>
            </a:r>
            <a:r>
              <a:rPr lang="de-DE" dirty="0"/>
              <a:t> etc.</a:t>
            </a:r>
          </a:p>
          <a:p>
            <a:pPr lvl="1"/>
            <a:r>
              <a:rPr lang="de-DE" dirty="0" err="1"/>
              <a:t>Consider</a:t>
            </a:r>
            <a:r>
              <a:rPr lang="de-DE" dirty="0"/>
              <a:t> in-network </a:t>
            </a:r>
            <a:r>
              <a:rPr lang="de-DE" dirty="0" err="1"/>
              <a:t>computing</a:t>
            </a:r>
            <a:r>
              <a:rPr lang="de-DE" dirty="0"/>
              <a:t> and </a:t>
            </a:r>
            <a:r>
              <a:rPr lang="de-DE" dirty="0" err="1"/>
              <a:t>integration</a:t>
            </a:r>
            <a:r>
              <a:rPr lang="de-DE" dirty="0"/>
              <a:t> </a:t>
            </a:r>
            <a:r>
              <a:rPr lang="de-DE" dirty="0" err="1"/>
              <a:t>into</a:t>
            </a:r>
            <a:r>
              <a:rPr lang="de-DE" dirty="0"/>
              <a:t> </a:t>
            </a:r>
            <a:r>
              <a:rPr lang="de-DE" dirty="0" err="1"/>
              <a:t>enterprise</a:t>
            </a:r>
            <a:r>
              <a:rPr lang="de-DE" dirty="0"/>
              <a:t> network</a:t>
            </a:r>
          </a:p>
          <a:p>
            <a:pPr lvl="1"/>
            <a:r>
              <a:rPr lang="de-DE" dirty="0" err="1"/>
              <a:t>Relatively</a:t>
            </a:r>
            <a:r>
              <a:rPr lang="de-DE" dirty="0"/>
              <a:t> easy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small</a:t>
            </a:r>
            <a:r>
              <a:rPr lang="de-DE" dirty="0"/>
              <a:t> </a:t>
            </a:r>
            <a:r>
              <a:rPr lang="de-DE" dirty="0" err="1"/>
              <a:t>deployments</a:t>
            </a:r>
            <a:r>
              <a:rPr lang="de-DE" dirty="0"/>
              <a:t> –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challenging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larger </a:t>
            </a:r>
            <a:r>
              <a:rPr lang="de-DE" dirty="0" err="1"/>
              <a:t>ones</a:t>
            </a:r>
            <a:endParaRPr lang="de-DE" dirty="0"/>
          </a:p>
          <a:p>
            <a:r>
              <a:rPr lang="de-DE" dirty="0"/>
              <a:t>Potential follow-</a:t>
            </a:r>
            <a:r>
              <a:rPr lang="de-DE" dirty="0" err="1"/>
              <a:t>up</a:t>
            </a:r>
            <a:r>
              <a:rPr lang="de-DE" dirty="0"/>
              <a:t> </a:t>
            </a:r>
            <a:r>
              <a:rPr lang="de-DE" dirty="0" err="1"/>
              <a:t>idea</a:t>
            </a:r>
            <a:r>
              <a:rPr lang="de-DE" dirty="0"/>
              <a:t>: </a:t>
            </a:r>
            <a:r>
              <a:rPr lang="de-DE" dirty="0" err="1"/>
              <a:t>community</a:t>
            </a:r>
            <a:r>
              <a:rPr lang="de-DE" dirty="0"/>
              <a:t> 5G </a:t>
            </a:r>
            <a:r>
              <a:rPr lang="de-DE" dirty="0" err="1"/>
              <a:t>networks</a:t>
            </a:r>
            <a:endParaRPr lang="de-DE" dirty="0"/>
          </a:p>
          <a:p>
            <a:pPr lvl="1"/>
            <a:r>
              <a:rPr lang="de-DE" dirty="0"/>
              <a:t>Toolkit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communities</a:t>
            </a:r>
            <a:endParaRPr lang="de-DE" dirty="0"/>
          </a:p>
          <a:p>
            <a:pPr lvl="1"/>
            <a:r>
              <a:rPr lang="de-DE" dirty="0"/>
              <a:t>Work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whatever</a:t>
            </a:r>
            <a:r>
              <a:rPr lang="de-DE" dirty="0"/>
              <a:t> </a:t>
            </a:r>
            <a:r>
              <a:rPr lang="de-DE" dirty="0" err="1"/>
              <a:t>backhaul</a:t>
            </a:r>
            <a:r>
              <a:rPr lang="de-DE" dirty="0"/>
              <a:t> </a:t>
            </a:r>
            <a:r>
              <a:rPr lang="de-DE" dirty="0" err="1"/>
              <a:t>available</a:t>
            </a:r>
            <a:r>
              <a:rPr lang="de-DE" dirty="0"/>
              <a:t> (</a:t>
            </a:r>
            <a:r>
              <a:rPr lang="de-DE" dirty="0" err="1"/>
              <a:t>Starlink</a:t>
            </a:r>
            <a:r>
              <a:rPr lang="de-DE" dirty="0"/>
              <a:t> </a:t>
            </a:r>
            <a:r>
              <a:rPr lang="de-DE" dirty="0" err="1"/>
              <a:t>etc</a:t>
            </a:r>
            <a:r>
              <a:rPr lang="de-DE" dirty="0"/>
              <a:t>).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B1E0DDE-0EEC-452F-BFD4-CC6DC45430C7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DD044BE-F33C-E54A-8DD9-5DFF44E04C86}" type="datetime1">
              <a:rPr lang="de-DE" smtClean="0"/>
              <a:t>20.06.22</a:t>
            </a:fld>
            <a:endParaRPr lang="en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A691672-BA47-4B42-BF45-48CC9D7DD9B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D375E7DE-9AA3-EB43-B5E8-BA1371B996D3}" type="slidenum">
              <a:rPr lang="en-DE" smtClean="0"/>
              <a:pPr/>
              <a:t>4</a:t>
            </a:fld>
            <a:endParaRPr lang="en-DE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A800282-BEB0-AA37-4806-3BF0721895DD}"/>
              </a:ext>
            </a:extLst>
          </p:cNvPr>
          <p:cNvGrpSpPr>
            <a:grpSpLocks noChangeAspect="1"/>
          </p:cNvGrpSpPr>
          <p:nvPr/>
        </p:nvGrpSpPr>
        <p:grpSpPr>
          <a:xfrm>
            <a:off x="9287932" y="0"/>
            <a:ext cx="2904067" cy="919426"/>
            <a:chOff x="4614041" y="1355834"/>
            <a:chExt cx="3731173" cy="118128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45F33B2-9479-9DB4-BE9B-11D26D4C76F7}"/>
                </a:ext>
              </a:extLst>
            </p:cNvPr>
            <p:cNvSpPr/>
            <p:nvPr/>
          </p:nvSpPr>
          <p:spPr>
            <a:xfrm>
              <a:off x="4614041" y="1355834"/>
              <a:ext cx="3731173" cy="1181287"/>
            </a:xfrm>
            <a:prstGeom prst="rect">
              <a:avLst/>
            </a:prstGeom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DE"/>
            </a:p>
          </p:txBody>
        </p:sp>
        <p:pic>
          <p:nvPicPr>
            <p:cNvPr id="12" name="Google Shape;9;p1">
              <a:extLst>
                <a:ext uri="{FF2B5EF4-FFF2-40B4-BE49-F238E27FC236}">
                  <a16:creationId xmlns:a16="http://schemas.microsoft.com/office/drawing/2014/main" id="{E72B8696-FB13-7373-1C57-6D41F5B91342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2">
              <a:alphaModFix/>
            </a:blip>
            <a:stretch>
              <a:fillRect/>
            </a:stretch>
          </p:blipFill>
          <p:spPr>
            <a:xfrm>
              <a:off x="4614042" y="1389789"/>
              <a:ext cx="3731172" cy="1147332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" name="Footer Placeholder 5">
            <a:extLst>
              <a:ext uri="{FF2B5EF4-FFF2-40B4-BE49-F238E27FC236}">
                <a16:creationId xmlns:a16="http://schemas.microsoft.com/office/drawing/2014/main" id="{5707B1D8-BF83-BBC5-31FB-F5CEFBBD7B0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038600" y="6224093"/>
            <a:ext cx="4114800" cy="365125"/>
          </a:xfrm>
        </p:spPr>
        <p:txBody>
          <a:bodyPr/>
          <a:lstStyle/>
          <a:p>
            <a:r>
              <a:rPr lang="de-DE" b="1" dirty="0" err="1">
                <a:cs typeface="Calibri" panose="020F0502020204030204" pitchFamily="34" charset="0"/>
              </a:rPr>
              <a:t>CampusOS</a:t>
            </a:r>
            <a:r>
              <a:rPr lang="de-DE" b="1" dirty="0">
                <a:cs typeface="Calibri" panose="020F0502020204030204" pitchFamily="34" charset="0"/>
              </a:rPr>
              <a:t> // Dirk Kutscher // MAVERIC</a:t>
            </a:r>
            <a:endParaRPr lang="de-DE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5338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LENGTH" val="24576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IAAAAAAAAAAwAAAAMAAAAA/////wQASwwAAAAAAAAAAAAAIAD///////////////8AAAD////////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7DGtXf+OoFBma/MJfnh1tEFAAAAAAADAAAAAwADAAAAAQADAAEA////////BAAAAAMAEAALUuJXFY1w9E6FlJpvVY8TzQ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AgMAAAAAAAAAAAAACAB////////////////AAAA////////////////BAAAAAMA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wEDAAAAAgD///////8aAAZMaW5rZWRTaGFwZXNEYXRhUHJvcGVydHlfMAUAAAAAAAQAAAADAAQAAAABAAQAAAADAP///////wQAAAAAAP///////wMAAgEDAAAAAwD///////8lAAZMaW5rZWRTaGFwZVByZXNlbnRhdGlvblNldHRpbmdzRGF0YV8wBQAAAAE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LDGtXf+OoFBma/MJfnh1tEDRGF0YQAbAAAABExpbmtlZFNoYXBlRGF0YQAFAAAAAAACTmFtZQAZAAAATGlua2VkU2hhcGVzRGF0YVByb3BlcnR5ABBWZXJzaW9uAAAAAAAJTGFzdFdyaXRlANBPvRqBAQAAAAEA/////8YAxgAAAAVfaWQAEAAAAARS4lcVjXD0ToWUmm9VjxPNA0RhdGEAUwAAAAhQcmVzZW50YXRpb25TY2FubmVkRm9yTGlua2VkU2hhcGVzAAECTnVtYmVyRm9ybWF0U2VwYXJhdG9yTW9kZQAKAAAAQXV0b21hdGljAAACTmFtZQAkAAAATGlua2VkU2hhcGVQcmVzZW50YXRpb25TZXR0aW5nc0RhdGEAEFZlcnNpb24AAAAAAAlMYXN0V3JpdGUAPlC9Go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</p:tagLst>
</file>

<file path=ppt/theme/theme1.xml><?xml version="1.0" encoding="utf-8"?>
<a:theme xmlns:a="http://schemas.openxmlformats.org/drawingml/2006/main" name="CampusOS blue footer">
  <a:themeElements>
    <a:clrScheme name="CampusOS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8B8CE"/>
      </a:accent1>
      <a:accent2>
        <a:srgbClr val="69C0AC"/>
      </a:accent2>
      <a:accent3>
        <a:srgbClr val="2481C3"/>
      </a:accent3>
      <a:accent4>
        <a:srgbClr val="EC6608"/>
      </a:accent4>
      <a:accent5>
        <a:srgbClr val="9185BE"/>
      </a:accent5>
      <a:accent6>
        <a:srgbClr val="009879"/>
      </a:accent6>
      <a:hlink>
        <a:srgbClr val="003369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mpus_OS_Präsentation" id="{D16BE346-2600-0C46-BAF5-291B3EA8D8B1}" vid="{FF36ABD0-73D9-6042-87EC-ACB3B3754161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ampusOS background">
  <a:themeElements>
    <a:clrScheme name="CampusOS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28B8CE"/>
      </a:accent1>
      <a:accent2>
        <a:srgbClr val="69C0AC"/>
      </a:accent2>
      <a:accent3>
        <a:srgbClr val="2481C3"/>
      </a:accent3>
      <a:accent4>
        <a:srgbClr val="EC6608"/>
      </a:accent4>
      <a:accent5>
        <a:srgbClr val="9185BE"/>
      </a:accent5>
      <a:accent6>
        <a:srgbClr val="009879"/>
      </a:accent6>
      <a:hlink>
        <a:srgbClr val="003369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ampus_OS_Präsentation" id="{D16BE346-2600-0C46-BAF5-291B3EA8D8B1}" vid="{FF36ABD0-73D9-6042-87EC-ACB3B3754161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6A2166F3854FD42B3AE2BBE3E9D11C5" ma:contentTypeVersion="11" ma:contentTypeDescription="Ein neues Dokument erstellen." ma:contentTypeScope="" ma:versionID="c0ba55a39a90021cfa0ec6ede749f698">
  <xsd:schema xmlns:xsd="http://www.w3.org/2001/XMLSchema" xmlns:xs="http://www.w3.org/2001/XMLSchema" xmlns:p="http://schemas.microsoft.com/office/2006/metadata/properties" xmlns:ns2="9601307d-a2af-4a2f-8853-9d415cace894" xmlns:ns3="e0b9e473-42ad-473a-8fdd-9e47f1e1014b" targetNamespace="http://schemas.microsoft.com/office/2006/metadata/properties" ma:root="true" ma:fieldsID="cc040362a334143a72d35d78eb8df591" ns2:_="" ns3:_="">
    <xsd:import namespace="9601307d-a2af-4a2f-8853-9d415cace894"/>
    <xsd:import namespace="e0b9e473-42ad-473a-8fdd-9e47f1e1014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01307d-a2af-4a2f-8853-9d415cace89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b9e473-42ad-473a-8fdd-9e47f1e1014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30977B0-FD4D-4685-9ECE-379C2AC9C99E}">
  <ds:schemaRefs>
    <ds:schemaRef ds:uri="9601307d-a2af-4a2f-8853-9d415cace894"/>
    <ds:schemaRef ds:uri="e0b9e473-42ad-473a-8fdd-9e47f1e1014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06329E17-3424-491C-80B0-7DB0A038C15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FDEBF63-9FAD-4A7A-9BD9-20FDC42F6294}">
  <ds:schemaRefs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www.w3.org/XML/1998/namespace"/>
    <ds:schemaRef ds:uri="http://schemas.openxmlformats.org/package/2006/metadata/core-properties"/>
    <ds:schemaRef ds:uri="http://purl.org/dc/elements/1.1/"/>
    <ds:schemaRef ds:uri="e0b9e473-42ad-473a-8fdd-9e47f1e1014b"/>
    <ds:schemaRef ds:uri="9601307d-a2af-4a2f-8853-9d415cace894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enutzerdefiniertes Design</Template>
  <TotalTime>0</TotalTime>
  <Words>285</Words>
  <Application>Microsoft Macintosh PowerPoint</Application>
  <PresentationFormat>Widescreen</PresentationFormat>
  <Paragraphs>54</Paragraphs>
  <Slides>4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Calibri Light</vt:lpstr>
      <vt:lpstr>Calibri</vt:lpstr>
      <vt:lpstr>Arial</vt:lpstr>
      <vt:lpstr>Courier New</vt:lpstr>
      <vt:lpstr>CampusOS blue footer</vt:lpstr>
      <vt:lpstr>Custom Design</vt:lpstr>
      <vt:lpstr>CampusOS background</vt:lpstr>
      <vt:lpstr>PowerPoint Presentation</vt:lpstr>
      <vt:lpstr>MAVERIC</vt:lpstr>
      <vt:lpstr>MAVERIC</vt:lpstr>
      <vt:lpstr>MAVERIC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Julius Schulz-Zander</dc:creator>
  <cp:keywords/>
  <dc:description/>
  <cp:lastModifiedBy>Dirk Kutscher</cp:lastModifiedBy>
  <cp:revision>9</cp:revision>
  <dcterms:created xsi:type="dcterms:W3CDTF">2022-02-10T13:48:10Z</dcterms:created>
  <dcterms:modified xsi:type="dcterms:W3CDTF">2022-06-20T13:58:4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A2166F3854FD42B3AE2BBE3E9D11C5</vt:lpwstr>
  </property>
  <property fmtid="{D5CDD505-2E9C-101B-9397-08002B2CF9AE}" pid="3" name="MSIP_Label_a59b6cd5-d141-4a33-8bf1-0ca04484304f_Enabled">
    <vt:lpwstr>true</vt:lpwstr>
  </property>
  <property fmtid="{D5CDD505-2E9C-101B-9397-08002B2CF9AE}" pid="4" name="MSIP_Label_a59b6cd5-d141-4a33-8bf1-0ca04484304f_SetDate">
    <vt:lpwstr>2022-06-10T07:17:12Z</vt:lpwstr>
  </property>
  <property fmtid="{D5CDD505-2E9C-101B-9397-08002B2CF9AE}" pid="5" name="MSIP_Label_a59b6cd5-d141-4a33-8bf1-0ca04484304f_Method">
    <vt:lpwstr>Standard</vt:lpwstr>
  </property>
  <property fmtid="{D5CDD505-2E9C-101B-9397-08002B2CF9AE}" pid="6" name="MSIP_Label_a59b6cd5-d141-4a33-8bf1-0ca04484304f_Name">
    <vt:lpwstr>restricted-default</vt:lpwstr>
  </property>
  <property fmtid="{D5CDD505-2E9C-101B-9397-08002B2CF9AE}" pid="7" name="MSIP_Label_a59b6cd5-d141-4a33-8bf1-0ca04484304f_SiteId">
    <vt:lpwstr>38ae3bcd-9579-4fd4-adda-b42e1495d55a</vt:lpwstr>
  </property>
  <property fmtid="{D5CDD505-2E9C-101B-9397-08002B2CF9AE}" pid="8" name="MSIP_Label_a59b6cd5-d141-4a33-8bf1-0ca04484304f_ActionId">
    <vt:lpwstr>6850f9d8-cdff-455a-a2f4-8de6b298beb1</vt:lpwstr>
  </property>
  <property fmtid="{D5CDD505-2E9C-101B-9397-08002B2CF9AE}" pid="9" name="MSIP_Label_a59b6cd5-d141-4a33-8bf1-0ca04484304f_ContentBits">
    <vt:lpwstr>0</vt:lpwstr>
  </property>
  <property fmtid="{D5CDD505-2E9C-101B-9397-08002B2CF9AE}" pid="10" name="Document_Confidentiality">
    <vt:lpwstr>Restricted</vt:lpwstr>
  </property>
</Properties>
</file>